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1"/>
  </p:notesMasterIdLst>
  <p:handoutMasterIdLst>
    <p:handoutMasterId r:id="rId12"/>
  </p:handoutMasterIdLst>
  <p:sldIdLst>
    <p:sldId id="705" r:id="rId6"/>
    <p:sldId id="693" r:id="rId7"/>
    <p:sldId id="657" r:id="rId8"/>
    <p:sldId id="704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05"/>
            <p14:sldId id="693"/>
            <p14:sldId id="657"/>
            <p14:sldId id="704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59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2178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6086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C1F073-7713-4805-9EE1-EA2B01EB98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82581"/>
            <a:ext cx="5991225" cy="599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9603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972113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9592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87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3-May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499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9918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45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8.xml"/><Relationship Id="rId9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7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09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Light" pitchFamily="50" charset="0"/>
                <a:ea typeface="+mj-ea"/>
                <a:cs typeface="+mj-cs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29231" y="2892846"/>
            <a:ext cx="5039957" cy="1072307"/>
          </a:xfrm>
        </p:spPr>
        <p:txBody>
          <a:bodyPr/>
          <a:lstStyle/>
          <a:p>
            <a:r>
              <a:rPr lang="en-GB" sz="4000" dirty="0">
                <a:solidFill>
                  <a:srgbClr val="0070C0"/>
                </a:solidFill>
              </a:rPr>
              <a:t>Data type and variable assignment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388105"/>
            <a:ext cx="11593145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7BD246C-3AB2-4BFE-B4B7-6A6A5D63B0B9}"/>
                  </a:ext>
                </a:extLst>
              </p:cNvPr>
              <p:cNvSpPr txBox="1"/>
              <p:nvPr/>
            </p:nvSpPr>
            <p:spPr>
              <a:xfrm>
                <a:off x="508591" y="1521763"/>
                <a:ext cx="11174818" cy="33590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The most common ones are </a:t>
                </a:r>
                <a:r>
                  <a:rPr lang="en-US" sz="2400" b="1" i="1" dirty="0"/>
                  <a:t>string</a:t>
                </a:r>
                <a:r>
                  <a:rPr lang="en-US" sz="2400" dirty="0"/>
                  <a:t>, </a:t>
                </a:r>
                <a:r>
                  <a:rPr lang="en-US" sz="2400" b="1" i="1" dirty="0"/>
                  <a:t>integer</a:t>
                </a:r>
                <a:r>
                  <a:rPr lang="en-US" sz="2400" dirty="0"/>
                  <a:t>, </a:t>
                </a:r>
                <a:r>
                  <a:rPr lang="en-US" sz="2400" b="1" i="1" dirty="0"/>
                  <a:t>float</a:t>
                </a:r>
                <a:r>
                  <a:rPr lang="en-US" sz="2400" dirty="0"/>
                  <a:t>, and </a:t>
                </a:r>
                <a:r>
                  <a:rPr lang="en-US" sz="2400" b="1" i="1" dirty="0" err="1"/>
                  <a:t>boolean</a:t>
                </a:r>
                <a:r>
                  <a:rPr lang="en-US" sz="2400" dirty="0"/>
                  <a:t>.</a:t>
                </a:r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Words or texts in Python are known as </a:t>
                </a:r>
                <a:r>
                  <a:rPr lang="en-US" sz="2400" b="1" dirty="0"/>
                  <a:t>string</a:t>
                </a:r>
                <a:r>
                  <a:rPr lang="en-US" sz="2400" dirty="0"/>
                  <a:t> (str for short) e.g. “Kenya”, “Male”, “Corona virus”</a:t>
                </a:r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Number without decimal are known as </a:t>
                </a:r>
                <a:r>
                  <a:rPr lang="en-US" sz="2400" b="1" dirty="0"/>
                  <a:t>integer</a:t>
                </a:r>
                <a:r>
                  <a:rPr lang="en-US" sz="2400" dirty="0"/>
                  <a:t> (int for short) e.g. </a:t>
                </a:r>
                <a14:m>
                  <m:oMath xmlns:m="http://schemas.openxmlformats.org/officeDocument/2006/math">
                    <m:r>
                      <a:rPr lang="en-US" sz="24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𝟗</m:t>
                    </m:r>
                  </m:oMath>
                </a14:m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Number with decimal are known as </a:t>
                </a:r>
                <a:r>
                  <a:rPr lang="en-US" sz="2400" b="1" dirty="0"/>
                  <a:t>float</a:t>
                </a:r>
                <a:r>
                  <a:rPr lang="en-US" sz="2400" dirty="0"/>
                  <a:t> e.g. </a:t>
                </a:r>
                <a14:m>
                  <m:oMath xmlns:m="http://schemas.openxmlformats.org/officeDocument/2006/math">
                    <m:r>
                      <a:rPr lang="en-US" sz="2400" b="1" i="1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𝟒𝟐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𝟔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𝟒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2400" b="1" i="1">
                        <a:latin typeface="Cambria Math" panose="02040503050406030204" pitchFamily="18" charset="0"/>
                      </a:rPr>
                      <m:t>𝟐</m:t>
                    </m:r>
                  </m:oMath>
                </a14:m>
                <a:endParaRPr lang="en-US" sz="2400" b="1" dirty="0"/>
              </a:p>
              <a:p>
                <a:pPr marL="342900" lvl="0" indent="-342900">
                  <a:lnSpc>
                    <a:spcPct val="150000"/>
                  </a:lnSpc>
                  <a:buFont typeface="Wingdings" panose="05000000000000000000" pitchFamily="2" charset="2"/>
                  <a:buChar char="§"/>
                </a:pPr>
                <a:r>
                  <a:rPr lang="en-US" sz="2400" dirty="0"/>
                  <a:t>Value with either True or False are known as </a:t>
                </a:r>
                <a:r>
                  <a:rPr lang="en-US" sz="2400" b="1" dirty="0"/>
                  <a:t>Boolean </a:t>
                </a:r>
                <a:r>
                  <a:rPr lang="en-US" sz="2400" dirty="0"/>
                  <a:t>(bool for short)</a:t>
                </a:r>
                <a:endParaRPr lang="en-US" sz="2400" b="1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7BD246C-3AB2-4BFE-B4B7-6A6A5D63B0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8591" y="1521763"/>
                <a:ext cx="11174818" cy="3359061"/>
              </a:xfrm>
              <a:prstGeom prst="rect">
                <a:avLst/>
              </a:prstGeom>
              <a:blipFill>
                <a:blip r:embed="rId3"/>
                <a:stretch>
                  <a:fillRect l="-818" b="-32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Google Shape;62;p6">
            <a:extLst>
              <a:ext uri="{FF2B5EF4-FFF2-40B4-BE49-F238E27FC236}">
                <a16:creationId xmlns:a16="http://schemas.microsoft.com/office/drawing/2014/main" id="{285D66C0-BF2C-4902-84A9-43D7CA6B23B5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Types in Python</a:t>
            </a: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62;p6">
            <a:extLst>
              <a:ext uri="{FF2B5EF4-FFF2-40B4-BE49-F238E27FC236}">
                <a16:creationId xmlns:a16="http://schemas.microsoft.com/office/drawing/2014/main" id="{0EC94883-8D13-430C-8E2F-72E12BB3E331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ata types</a:t>
            </a:r>
          </a:p>
        </p:txBody>
      </p:sp>
      <p:pic>
        <p:nvPicPr>
          <p:cNvPr id="5" name="image19.png">
            <a:extLst>
              <a:ext uri="{FF2B5EF4-FFF2-40B4-BE49-F238E27FC236}">
                <a16:creationId xmlns:a16="http://schemas.microsoft.com/office/drawing/2014/main" id="{36B1DC08-C3CD-4189-B336-54568FD8E74C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176981" y="1117221"/>
            <a:ext cx="7543800" cy="5254177"/>
          </a:xfrm>
          <a:prstGeom prst="rect">
            <a:avLst/>
          </a:prstGeom>
          <a:ln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86FB87-A839-412B-91F8-85EDCAB02786}"/>
              </a:ext>
            </a:extLst>
          </p:cNvPr>
          <p:cNvSpPr txBox="1"/>
          <p:nvPr/>
        </p:nvSpPr>
        <p:spPr>
          <a:xfrm>
            <a:off x="8135006" y="2171460"/>
            <a:ext cx="3842844" cy="2579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ython can tell you the data type by using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ype() 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unction. Python refers integer number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float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loat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character or text as </a:t>
            </a:r>
            <a:r>
              <a:rPr lang="en-US" sz="2200" b="0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r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2200" b="0" dirty="0" err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ean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as </a:t>
            </a:r>
            <a:r>
              <a:rPr lang="en-US" sz="2200" b="0" i="1" dirty="0">
                <a:solidFill>
                  <a:srgbClr val="5B9BD5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ool</a:t>
            </a:r>
            <a:r>
              <a:rPr lang="en-US" sz="22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US" sz="22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8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1065263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3</TotalTime>
  <Words>160</Words>
  <Application>Microsoft Office PowerPoint</Application>
  <PresentationFormat>Widescreen</PresentationFormat>
  <Paragraphs>1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Cambria Math</vt:lpstr>
      <vt:lpstr>Gotham Light</vt:lpstr>
      <vt:lpstr>Lato Light</vt:lpstr>
      <vt:lpstr>Wingdings</vt:lpstr>
      <vt:lpstr>2_Office Theme</vt:lpstr>
      <vt:lpstr>3_Office Theme</vt:lpstr>
      <vt:lpstr>think-cell Slide</vt:lpstr>
      <vt:lpstr>Introduction to Programming in Python</vt:lpstr>
      <vt:lpstr>Data type and variable assignmen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38</cp:revision>
  <dcterms:created xsi:type="dcterms:W3CDTF">2020-03-16T19:15:12Z</dcterms:created>
  <dcterms:modified xsi:type="dcterms:W3CDTF">2024-05-03T11:4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